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4" d="100"/>
          <a:sy n="114" d="100"/>
        </p:scale>
        <p:origin x="171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tal BONO | Studia Ingénierie" userId="69b0b433-6b0c-431e-be5c-d65239c24e11" providerId="ADAL" clId="{E8111FDC-9C19-4376-A9C5-0A0986B1756D}"/>
    <pc:docChg chg="undo modSld">
      <pc:chgData name="Chantal BONO | Studia Ingénierie" userId="69b0b433-6b0c-431e-be5c-d65239c24e11" providerId="ADAL" clId="{E8111FDC-9C19-4376-A9C5-0A0986B1756D}" dt="2020-03-19T10:30:53.767" v="129" actId="948"/>
      <pc:docMkLst>
        <pc:docMk/>
      </pc:docMkLst>
      <pc:sldChg chg="modSp">
        <pc:chgData name="Chantal BONO | Studia Ingénierie" userId="69b0b433-6b0c-431e-be5c-d65239c24e11" providerId="ADAL" clId="{E8111FDC-9C19-4376-A9C5-0A0986B1756D}" dt="2020-03-19T10:30:53.767" v="129" actId="948"/>
        <pc:sldMkLst>
          <pc:docMk/>
          <pc:sldMk cId="2369487437" sldId="376"/>
        </pc:sldMkLst>
        <pc:spChg chg="mod">
          <ac:chgData name="Chantal BONO | Studia Ingénierie" userId="69b0b433-6b0c-431e-be5c-d65239c24e11" providerId="ADAL" clId="{E8111FDC-9C19-4376-A9C5-0A0986B1756D}" dt="2020-03-19T10:30:53.767" v="129" actId="948"/>
          <ac:spMkLst>
            <pc:docMk/>
            <pc:sldMk cId="2369487437" sldId="376"/>
            <ac:spMk id="7" creationId="{00000000-0000-0000-0000-000000000000}"/>
          </ac:spMkLst>
        </pc:spChg>
        <pc:spChg chg="mod">
          <ac:chgData name="Chantal BONO | Studia Ingénierie" userId="69b0b433-6b0c-431e-be5c-d65239c24e11" providerId="ADAL" clId="{E8111FDC-9C19-4376-A9C5-0A0986B1756D}" dt="2020-03-19T10:28:47.734" v="66" actId="1036"/>
          <ac:spMkLst>
            <pc:docMk/>
            <pc:sldMk cId="2369487437" sldId="376"/>
            <ac:spMk id="9" creationId="{CF44C1F8-6FC3-4515-B08E-1A90733BAFE7}"/>
          </ac:spMkLst>
        </pc:spChg>
        <pc:spChg chg="mod">
          <ac:chgData name="Chantal BONO | Studia Ingénierie" userId="69b0b433-6b0c-431e-be5c-d65239c24e11" providerId="ADAL" clId="{E8111FDC-9C19-4376-A9C5-0A0986B1756D}" dt="2020-03-19T10:27:27.927" v="23" actId="1035"/>
          <ac:spMkLst>
            <pc:docMk/>
            <pc:sldMk cId="2369487437" sldId="376"/>
            <ac:spMk id="21" creationId="{00000000-0000-0000-0000-000000000000}"/>
          </ac:spMkLst>
        </pc:spChg>
        <pc:spChg chg="mod">
          <ac:chgData name="Chantal BONO | Studia Ingénierie" userId="69b0b433-6b0c-431e-be5c-d65239c24e11" providerId="ADAL" clId="{E8111FDC-9C19-4376-A9C5-0A0986B1756D}" dt="2020-03-19T10:28:31.223" v="48" actId="1035"/>
          <ac:spMkLst>
            <pc:docMk/>
            <pc:sldMk cId="2369487437" sldId="376"/>
            <ac:spMk id="22" creationId="{00000000-0000-0000-0000-000000000000}"/>
          </ac:spMkLst>
        </pc:spChg>
        <pc:spChg chg="mod">
          <ac:chgData name="Chantal BONO | Studia Ingénierie" userId="69b0b433-6b0c-431e-be5c-d65239c24e11" providerId="ADAL" clId="{E8111FDC-9C19-4376-A9C5-0A0986B1756D}" dt="2020-03-19T10:27:27.927" v="23" actId="1035"/>
          <ac:spMkLst>
            <pc:docMk/>
            <pc:sldMk cId="2369487437" sldId="376"/>
            <ac:spMk id="23" creationId="{00000000-0000-0000-0000-000000000000}"/>
          </ac:spMkLst>
        </pc:spChg>
        <pc:spChg chg="mod">
          <ac:chgData name="Chantal BONO | Studia Ingénierie" userId="69b0b433-6b0c-431e-be5c-d65239c24e11" providerId="ADAL" clId="{E8111FDC-9C19-4376-A9C5-0A0986B1756D}" dt="2020-03-19T10:28:59.030" v="82" actId="1035"/>
          <ac:spMkLst>
            <pc:docMk/>
            <pc:sldMk cId="2369487437" sldId="376"/>
            <ac:spMk id="24" creationId="{00000000-0000-0000-0000-000000000000}"/>
          </ac:spMkLst>
        </pc:spChg>
        <pc:spChg chg="mod">
          <ac:chgData name="Chantal BONO | Studia Ingénierie" userId="69b0b433-6b0c-431e-be5c-d65239c24e11" providerId="ADAL" clId="{E8111FDC-9C19-4376-A9C5-0A0986B1756D}" dt="2020-03-19T10:30:21.238" v="123" actId="947"/>
          <ac:spMkLst>
            <pc:docMk/>
            <pc:sldMk cId="2369487437" sldId="376"/>
            <ac:spMk id="19476" creationId="{00000000-0000-0000-0000-000000000000}"/>
          </ac:spMkLst>
        </pc:spChg>
        <pc:spChg chg="mod">
          <ac:chgData name="Chantal BONO | Studia Ingénierie" userId="69b0b433-6b0c-431e-be5c-d65239c24e11" providerId="ADAL" clId="{E8111FDC-9C19-4376-A9C5-0A0986B1756D}" dt="2020-03-19T10:27:27.927" v="23" actId="1035"/>
          <ac:spMkLst>
            <pc:docMk/>
            <pc:sldMk cId="2369487437" sldId="376"/>
            <ac:spMk id="19477" creationId="{00000000-0000-0000-0000-000000000000}"/>
          </ac:spMkLst>
        </pc:spChg>
        <pc:picChg chg="mod">
          <ac:chgData name="Chantal BONO | Studia Ingénierie" userId="69b0b433-6b0c-431e-be5c-d65239c24e11" providerId="ADAL" clId="{E8111FDC-9C19-4376-A9C5-0A0986B1756D}" dt="2020-03-19T10:29:16.006" v="119" actId="1036"/>
          <ac:picMkLst>
            <pc:docMk/>
            <pc:sldMk cId="2369487437" sldId="376"/>
            <ac:picMk id="27" creationId="{FDED6C86-4D9D-40DF-BDAF-5705302E314B}"/>
          </ac:picMkLst>
        </pc:picChg>
        <pc:picChg chg="mod">
          <ac:chgData name="Chantal BONO | Studia Ingénierie" userId="69b0b433-6b0c-431e-be5c-d65239c24e11" providerId="ADAL" clId="{E8111FDC-9C19-4376-A9C5-0A0986B1756D}" dt="2020-03-19T10:29:16.006" v="119" actId="1036"/>
          <ac:picMkLst>
            <pc:docMk/>
            <pc:sldMk cId="2369487437" sldId="376"/>
            <ac:picMk id="28" creationId="{22EC1DF9-ABA4-4D30-8A73-02BF0566D49C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9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9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428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7119767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64071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01695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64071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008327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0"/>
              <a:t>Vorbeugen von Lieferengpässen bei Ersatzteil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32740"/>
            <a:ext cx="7997825" cy="307975"/>
          </a:xfrm>
        </p:spPr>
        <p:txBody>
          <a:bodyPr/>
          <a:lstStyle/>
          <a:p>
            <a:r>
              <a:rPr lang="de-DE" dirty="0"/>
              <a:t>Festo Zylinderbausatz für </a:t>
            </a:r>
            <a:r>
              <a:rPr lang="de-DE" dirty="0" err="1"/>
              <a:t>Spleißeinheit</a:t>
            </a:r>
            <a:endParaRPr lang="de-DE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>
                <a:solidFill>
                  <a:srgbClr val="000000"/>
                </a:solidFill>
              </a:rPr>
              <a:t>Nutzen: Obsoleszenz</a:t>
            </a:r>
          </a:p>
          <a:p>
            <a:pPr>
              <a:defRPr/>
            </a:pPr>
            <a:r>
              <a:rPr lang="de-DE" sz="800">
                <a:solidFill>
                  <a:srgbClr val="000000"/>
                </a:solidFill>
              </a:rPr>
              <a:t>Ausstattung: Rollquattro, Matrix</a:t>
            </a:r>
          </a:p>
          <a:p>
            <a:pPr>
              <a:defRPr/>
            </a:pPr>
            <a:r>
              <a:rPr lang="de-DE" sz="800">
                <a:solidFill>
                  <a:srgbClr val="000000"/>
                </a:solidFill>
              </a:rPr>
              <a:t>Katalog-Code: OCL00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016953"/>
            <a:ext cx="3866263" cy="3760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b="1" dirty="0"/>
              <a:t>Sicherere Lösung mit neustem Bauteil von Sidel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b="1" dirty="0">
                <a:solidFill>
                  <a:srgbClr val="E64B00"/>
                </a:solidFill>
              </a:rPr>
              <a:t>Kann lange </a:t>
            </a:r>
            <a:r>
              <a:rPr lang="de-DE" sz="1050" b="1" dirty="0" err="1">
                <a:solidFill>
                  <a:srgbClr val="E64B00"/>
                </a:solidFill>
              </a:rPr>
              <a:t>Stillstandszeiten</a:t>
            </a:r>
            <a:r>
              <a:rPr lang="de-DE" sz="1050" b="1" dirty="0">
                <a:solidFill>
                  <a:srgbClr val="E64B00"/>
                </a:solidFill>
              </a:rPr>
              <a:t> bei Ausfall vermeiden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Die Benutzung der bei vorherigen Etikettierern installierten BIMBA-Zylinder alten Typs wird von Sidel eingestellt.</a:t>
            </a:r>
          </a:p>
          <a:p>
            <a:pPr marL="479822" lvl="1" indent="-136922"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Gefahr bevorstehender Nichtverfügbarkeit von Ersatzteilen.</a:t>
            </a:r>
          </a:p>
          <a:p>
            <a:pPr marL="479822" lvl="1" indent="-136922"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Gefahr langer </a:t>
            </a:r>
            <a:r>
              <a:rPr lang="de-DE" sz="1050" dirty="0" err="1">
                <a:solidFill>
                  <a:srgbClr val="000000"/>
                </a:solidFill>
              </a:rPr>
              <a:t>Stillstandszeiten</a:t>
            </a:r>
            <a:r>
              <a:rPr lang="de-DE" sz="1050" dirty="0">
                <a:solidFill>
                  <a:srgbClr val="000000"/>
                </a:solidFill>
              </a:rPr>
              <a:t> der Anlage in den Abfüllbetrieben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b="1" dirty="0">
                <a:solidFill>
                  <a:srgbClr val="E64B00"/>
                </a:solidFill>
              </a:rPr>
              <a:t>Bessere Leistungen (Präzision für Hochgeschwindigkeitsanwendungen, geringere Verzögerung beim Anlauf nach Stillstand)</a:t>
            </a:r>
          </a:p>
          <a:p>
            <a:pPr marL="479822" lvl="1" indent="-136922"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spc="-30" dirty="0">
                <a:solidFill>
                  <a:srgbClr val="000000"/>
                </a:solidFill>
              </a:rPr>
              <a:t>Interne Tests zeigen eine verbesserte </a:t>
            </a:r>
            <a:r>
              <a:rPr lang="de-DE" sz="1050" spc="-30" dirty="0" err="1">
                <a:solidFill>
                  <a:srgbClr val="000000"/>
                </a:solidFill>
              </a:rPr>
              <a:t>Spleißpräzision</a:t>
            </a:r>
            <a:r>
              <a:rPr lang="de-DE" sz="1050" spc="-30" dirty="0">
                <a:solidFill>
                  <a:srgbClr val="000000"/>
                </a:solidFill>
              </a:rPr>
              <a:t> von ca. 50% (statt 8mm Versatz nur 3mm Versatz beim Anlauf nach Stillstand) für Hochgeschwindigkeits-anwendungen</a:t>
            </a:r>
          </a:p>
          <a:p>
            <a:pPr marL="479822" lvl="1" indent="-136922"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Geringere Fehlerrate beim Anlauf nach Stillstand (verzögerter Zylinderhub nach längerem Stopp)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b="1" dirty="0">
                <a:solidFill>
                  <a:srgbClr val="E64B00"/>
                </a:solidFill>
              </a:rPr>
              <a:t>Geringere Kosten beim Ersatzteilkauf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Geringere Ersatzteilkosten dank des Ersatzzylinder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078404"/>
            <a:ext cx="3910143" cy="1620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200" dirty="0">
                <a:solidFill>
                  <a:srgbClr val="000000"/>
                </a:solidFill>
              </a:rPr>
              <a:t>Neues System mit neuen </a:t>
            </a:r>
            <a:r>
              <a:rPr lang="de-DE" sz="1200" dirty="0" err="1">
                <a:solidFill>
                  <a:srgbClr val="000000"/>
                </a:solidFill>
              </a:rPr>
              <a:t>Spleißzylindern</a:t>
            </a:r>
            <a:r>
              <a:rPr lang="de-DE" sz="1200" dirty="0">
                <a:solidFill>
                  <a:srgbClr val="000000"/>
                </a:solidFill>
              </a:rPr>
              <a:t>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200" dirty="0">
                <a:solidFill>
                  <a:srgbClr val="000000"/>
                </a:solidFill>
              </a:rPr>
              <a:t>Das neue System besteht aus neuen </a:t>
            </a:r>
            <a:r>
              <a:rPr lang="de-DE" sz="1200" dirty="0" err="1">
                <a:solidFill>
                  <a:srgbClr val="000000"/>
                </a:solidFill>
              </a:rPr>
              <a:t>Pneumatikzylindern</a:t>
            </a:r>
            <a:r>
              <a:rPr lang="de-DE" sz="1200" dirty="0">
                <a:solidFill>
                  <a:srgbClr val="000000"/>
                </a:solidFill>
              </a:rPr>
              <a:t> von Festo. In der Regel werden 2 Zylinder für Klingen und 2 für Pads für jede </a:t>
            </a:r>
            <a:r>
              <a:rPr lang="de-DE" sz="1200" dirty="0" err="1">
                <a:solidFill>
                  <a:srgbClr val="000000"/>
                </a:solidFill>
              </a:rPr>
              <a:t>Spleißeinheit</a:t>
            </a:r>
            <a:r>
              <a:rPr lang="de-DE" sz="1200" dirty="0">
                <a:solidFill>
                  <a:srgbClr val="000000"/>
                </a:solidFill>
              </a:rPr>
              <a:t> installiert.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200" dirty="0">
                <a:solidFill>
                  <a:srgbClr val="000000"/>
                </a:solidFill>
              </a:rPr>
              <a:t>Umfasst neue Pad-Montageplatten, neue Klingen-Montageplatten, Anschlüsse und Nachrüstmaterial.</a:t>
            </a:r>
          </a:p>
        </p:txBody>
      </p:sp>
      <p:sp>
        <p:nvSpPr>
          <p:cNvPr id="25" name="CasellaDiTesto 18">
            <a:extLst>
              <a:ext uri="{FF2B5EF4-FFF2-40B4-BE49-F238E27FC236}">
                <a16:creationId xmlns:a16="http://schemas.microsoft.com/office/drawing/2014/main" id="{19892A19-482D-41E1-97F0-580233D3D27F}"/>
              </a:ext>
            </a:extLst>
          </p:cNvPr>
          <p:cNvSpPr txBox="1"/>
          <p:nvPr/>
        </p:nvSpPr>
        <p:spPr>
          <a:xfrm>
            <a:off x="4782944" y="4207795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750" b="1" i="1">
                <a:solidFill>
                  <a:schemeClr val="folHlink"/>
                </a:solidFill>
              </a:rPr>
              <a:t>Position</a:t>
            </a:r>
          </a:p>
        </p:txBody>
      </p:sp>
      <p:sp>
        <p:nvSpPr>
          <p:cNvPr id="26" name="CasellaDiTesto 21">
            <a:extLst>
              <a:ext uri="{FF2B5EF4-FFF2-40B4-BE49-F238E27FC236}">
                <a16:creationId xmlns:a16="http://schemas.microsoft.com/office/drawing/2014/main" id="{27DB3FB4-FCFB-44C9-ABC7-A54B7247E883}"/>
              </a:ext>
            </a:extLst>
          </p:cNvPr>
          <p:cNvSpPr txBox="1"/>
          <p:nvPr/>
        </p:nvSpPr>
        <p:spPr>
          <a:xfrm>
            <a:off x="6684134" y="4207795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750" b="1" i="1">
                <a:solidFill>
                  <a:schemeClr val="folHlink"/>
                </a:solidFill>
              </a:rPr>
              <a:t>  Zylinder der Spleißeinheit</a:t>
            </a:r>
          </a:p>
        </p:txBody>
      </p:sp>
      <p:pic>
        <p:nvPicPr>
          <p:cNvPr id="27" name="Immagine 1">
            <a:extLst>
              <a:ext uri="{FF2B5EF4-FFF2-40B4-BE49-F238E27FC236}">
                <a16:creationId xmlns:a16="http://schemas.microsoft.com/office/drawing/2014/main" id="{FDED6C86-4D9D-40DF-BDAF-5705302E31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3849" y="4218667"/>
            <a:ext cx="1745529" cy="1327749"/>
          </a:xfrm>
          <a:prstGeom prst="rect">
            <a:avLst/>
          </a:prstGeom>
        </p:spPr>
      </p:pic>
      <p:pic>
        <p:nvPicPr>
          <p:cNvPr id="28" name="Immagine 2">
            <a:extLst>
              <a:ext uri="{FF2B5EF4-FFF2-40B4-BE49-F238E27FC236}">
                <a16:creationId xmlns:a16="http://schemas.microsoft.com/office/drawing/2014/main" id="{22EC1DF9-ABA4-4D30-8A73-02BF0566D4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4433" y="4218667"/>
            <a:ext cx="1649627" cy="1327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0</TotalTime>
  <Words>179</Words>
  <Application>Microsoft Office PowerPoint</Application>
  <PresentationFormat>Affichage à l'écran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Vorbeugen von Lieferengpässen bei Ersatzteil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Chantal BONO | Studia Ingénierie</cp:lastModifiedBy>
  <cp:revision>240</cp:revision>
  <dcterms:created xsi:type="dcterms:W3CDTF">2019-02-20T10:39:16Z</dcterms:created>
  <dcterms:modified xsi:type="dcterms:W3CDTF">2020-03-19T10:3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